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5"/>
  </p:notesMasterIdLst>
  <p:sldIdLst>
    <p:sldId id="272" r:id="rId2"/>
    <p:sldId id="266" r:id="rId3"/>
    <p:sldId id="273" r:id="rId4"/>
  </p:sldIdLst>
  <p:sldSz cx="12192000" cy="6858000"/>
  <p:notesSz cx="6858000" cy="9144000"/>
  <p:embeddedFontLst>
    <p:embeddedFont>
      <p:font typeface="Calibri" panose="020F0502020204030204" pitchFamily="34" charset="0"/>
      <p:regular r:id="rId6"/>
      <p:bold r:id="rId7"/>
      <p:italic r:id="rId8"/>
      <p:boldItalic r:id="rId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9" roundtripDataSignature="AMtx7mhD/0YReVHQq8MoEVd6BsZY0osSj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C2EF88-EF2A-4D7A-B10B-4345843E9EA6}" v="5" dt="2023-02-03T08:20:02.811"/>
  </p1510:revLst>
</p1510:revInfo>
</file>

<file path=ppt/tableStyles.xml><?xml version="1.0" encoding="utf-8"?>
<a:tblStyleLst xmlns:a="http://schemas.openxmlformats.org/drawingml/2006/main" def="{43B1412D-CF3F-4ED8-B5F3-A5ABDBA5259C}">
  <a:tblStyle styleId="{43B1412D-CF3F-4ED8-B5F3-A5ABDBA5259C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>
          <a:top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 b="off" i="off"/>
      <a:tcStyle>
        <a:tcBdr/>
      </a:tcStyle>
    </a:band2H>
    <a:band1V>
      <a:tcTxStyle b="off" i="off"/>
      <a:tcStyle>
        <a:tcBdr>
          <a:lef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1V>
    <a:band2V>
      <a:tcTxStyle b="off" i="off"/>
      <a:tcStyle>
        <a:tcBdr>
          <a:lef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</a:tcBdr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dk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357" autoAdjust="0"/>
  </p:normalViewPr>
  <p:slideViewPr>
    <p:cSldViewPr snapToGrid="0">
      <p:cViewPr varScale="1">
        <p:scale>
          <a:sx n="67" d="100"/>
          <a:sy n="67" d="100"/>
        </p:scale>
        <p:origin x="620" y="-1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39" Type="http://customschemas.google.com/relationships/presentationmetadata" Target="metadata"/><Relationship Id="rId3" Type="http://schemas.openxmlformats.org/officeDocument/2006/relationships/slide" Target="slides/slide2.xml"/><Relationship Id="rId42" Type="http://schemas.openxmlformats.org/officeDocument/2006/relationships/theme" Target="theme/theme1.xml"/><Relationship Id="rId7" Type="http://schemas.openxmlformats.org/officeDocument/2006/relationships/font" Target="fonts/font2.fntdata"/><Relationship Id="rId2" Type="http://schemas.openxmlformats.org/officeDocument/2006/relationships/slide" Target="slides/slide1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notesMaster" Target="notesMasters/notesMaster1.xml"/><Relationship Id="rId44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font" Target="fonts/font4.fntdata"/><Relationship Id="rId43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geetha Ramakrishnan" userId="403a4fd2-7ec7-41b1-8d15-217fcc0db286" providerId="ADAL" clId="{5AC2EF88-EF2A-4D7A-B10B-4345843E9EA6}"/>
    <pc:docChg chg="custSel addSld delSld modSld">
      <pc:chgData name="Sangeetha Ramakrishnan" userId="403a4fd2-7ec7-41b1-8d15-217fcc0db286" providerId="ADAL" clId="{5AC2EF88-EF2A-4D7A-B10B-4345843E9EA6}" dt="2023-02-03T08:20:05.634" v="191" actId="20577"/>
      <pc:docMkLst>
        <pc:docMk/>
      </pc:docMkLst>
      <pc:sldChg chg="del">
        <pc:chgData name="Sangeetha Ramakrishnan" userId="403a4fd2-7ec7-41b1-8d15-217fcc0db286" providerId="ADAL" clId="{5AC2EF88-EF2A-4D7A-B10B-4345843E9EA6}" dt="2023-02-03T08:16:15.942" v="0" actId="47"/>
        <pc:sldMkLst>
          <pc:docMk/>
          <pc:sldMk cId="0" sldId="261"/>
        </pc:sldMkLst>
      </pc:sldChg>
      <pc:sldChg chg="del">
        <pc:chgData name="Sangeetha Ramakrishnan" userId="403a4fd2-7ec7-41b1-8d15-217fcc0db286" providerId="ADAL" clId="{5AC2EF88-EF2A-4D7A-B10B-4345843E9EA6}" dt="2023-02-03T08:16:17.113" v="1" actId="47"/>
        <pc:sldMkLst>
          <pc:docMk/>
          <pc:sldMk cId="0" sldId="262"/>
        </pc:sldMkLst>
      </pc:sldChg>
      <pc:sldChg chg="del">
        <pc:chgData name="Sangeetha Ramakrishnan" userId="403a4fd2-7ec7-41b1-8d15-217fcc0db286" providerId="ADAL" clId="{5AC2EF88-EF2A-4D7A-B10B-4345843E9EA6}" dt="2023-02-03T08:16:30.554" v="2" actId="47"/>
        <pc:sldMkLst>
          <pc:docMk/>
          <pc:sldMk cId="0" sldId="264"/>
        </pc:sldMkLst>
      </pc:sldChg>
      <pc:sldChg chg="del">
        <pc:chgData name="Sangeetha Ramakrishnan" userId="403a4fd2-7ec7-41b1-8d15-217fcc0db286" providerId="ADAL" clId="{5AC2EF88-EF2A-4D7A-B10B-4345843E9EA6}" dt="2023-02-03T08:16:30.554" v="2" actId="47"/>
        <pc:sldMkLst>
          <pc:docMk/>
          <pc:sldMk cId="0" sldId="267"/>
        </pc:sldMkLst>
      </pc:sldChg>
      <pc:sldChg chg="del">
        <pc:chgData name="Sangeetha Ramakrishnan" userId="403a4fd2-7ec7-41b1-8d15-217fcc0db286" providerId="ADAL" clId="{5AC2EF88-EF2A-4D7A-B10B-4345843E9EA6}" dt="2023-02-03T08:16:30.554" v="2" actId="47"/>
        <pc:sldMkLst>
          <pc:docMk/>
          <pc:sldMk cId="0" sldId="268"/>
        </pc:sldMkLst>
      </pc:sldChg>
      <pc:sldChg chg="del">
        <pc:chgData name="Sangeetha Ramakrishnan" userId="403a4fd2-7ec7-41b1-8d15-217fcc0db286" providerId="ADAL" clId="{5AC2EF88-EF2A-4D7A-B10B-4345843E9EA6}" dt="2023-02-03T08:16:30.554" v="2" actId="47"/>
        <pc:sldMkLst>
          <pc:docMk/>
          <pc:sldMk cId="0" sldId="269"/>
        </pc:sldMkLst>
      </pc:sldChg>
      <pc:sldChg chg="del">
        <pc:chgData name="Sangeetha Ramakrishnan" userId="403a4fd2-7ec7-41b1-8d15-217fcc0db286" providerId="ADAL" clId="{5AC2EF88-EF2A-4D7A-B10B-4345843E9EA6}" dt="2023-02-03T08:16:30.554" v="2" actId="47"/>
        <pc:sldMkLst>
          <pc:docMk/>
          <pc:sldMk cId="0" sldId="270"/>
        </pc:sldMkLst>
      </pc:sldChg>
      <pc:sldChg chg="del">
        <pc:chgData name="Sangeetha Ramakrishnan" userId="403a4fd2-7ec7-41b1-8d15-217fcc0db286" providerId="ADAL" clId="{5AC2EF88-EF2A-4D7A-B10B-4345843E9EA6}" dt="2023-02-03T08:16:30.554" v="2" actId="47"/>
        <pc:sldMkLst>
          <pc:docMk/>
          <pc:sldMk cId="0" sldId="271"/>
        </pc:sldMkLst>
      </pc:sldChg>
      <pc:sldChg chg="addSp delSp modSp mod">
        <pc:chgData name="Sangeetha Ramakrishnan" userId="403a4fd2-7ec7-41b1-8d15-217fcc0db286" providerId="ADAL" clId="{5AC2EF88-EF2A-4D7A-B10B-4345843E9EA6}" dt="2023-02-03T08:19:01.931" v="84" actId="20577"/>
        <pc:sldMkLst>
          <pc:docMk/>
          <pc:sldMk cId="396422957" sldId="272"/>
        </pc:sldMkLst>
        <pc:spChg chg="mod">
          <ac:chgData name="Sangeetha Ramakrishnan" userId="403a4fd2-7ec7-41b1-8d15-217fcc0db286" providerId="ADAL" clId="{5AC2EF88-EF2A-4D7A-B10B-4345843E9EA6}" dt="2023-02-03T08:18:05.224" v="26" actId="20577"/>
          <ac:spMkLst>
            <pc:docMk/>
            <pc:sldMk cId="396422957" sldId="272"/>
            <ac:spMk id="3" creationId="{3FC0E2DD-B740-9EEA-809C-D64A15935C8C}"/>
          </ac:spMkLst>
        </pc:spChg>
        <pc:spChg chg="add del mod">
          <ac:chgData name="Sangeetha Ramakrishnan" userId="403a4fd2-7ec7-41b1-8d15-217fcc0db286" providerId="ADAL" clId="{5AC2EF88-EF2A-4D7A-B10B-4345843E9EA6}" dt="2023-02-03T08:18:32.615" v="30" actId="478"/>
          <ac:spMkLst>
            <pc:docMk/>
            <pc:sldMk cId="396422957" sldId="272"/>
            <ac:spMk id="127" creationId="{0B849F58-5C8C-E52F-EA4B-735ECC9EF356}"/>
          </ac:spMkLst>
        </pc:spChg>
        <pc:spChg chg="add mod">
          <ac:chgData name="Sangeetha Ramakrishnan" userId="403a4fd2-7ec7-41b1-8d15-217fcc0db286" providerId="ADAL" clId="{5AC2EF88-EF2A-4D7A-B10B-4345843E9EA6}" dt="2023-02-03T08:18:42.889" v="34" actId="14100"/>
          <ac:spMkLst>
            <pc:docMk/>
            <pc:sldMk cId="396422957" sldId="272"/>
            <ac:spMk id="128" creationId="{1A9C2512-D1B7-40F9-FFED-B89CBFC7C514}"/>
          </ac:spMkLst>
        </pc:spChg>
        <pc:spChg chg="add mod">
          <ac:chgData name="Sangeetha Ramakrishnan" userId="403a4fd2-7ec7-41b1-8d15-217fcc0db286" providerId="ADAL" clId="{5AC2EF88-EF2A-4D7A-B10B-4345843E9EA6}" dt="2023-02-03T08:19:01.931" v="84" actId="20577"/>
          <ac:spMkLst>
            <pc:docMk/>
            <pc:sldMk cId="396422957" sldId="272"/>
            <ac:spMk id="129" creationId="{0FCEB0F2-5B77-ECF9-9B39-C945AF539F51}"/>
          </ac:spMkLst>
        </pc:spChg>
      </pc:sldChg>
      <pc:sldChg chg="addSp modSp new mod">
        <pc:chgData name="Sangeetha Ramakrishnan" userId="403a4fd2-7ec7-41b1-8d15-217fcc0db286" providerId="ADAL" clId="{5AC2EF88-EF2A-4D7A-B10B-4345843E9EA6}" dt="2023-02-03T08:20:05.634" v="191" actId="20577"/>
        <pc:sldMkLst>
          <pc:docMk/>
          <pc:sldMk cId="1569229621" sldId="273"/>
        </pc:sldMkLst>
        <pc:spChg chg="mod">
          <ac:chgData name="Sangeetha Ramakrishnan" userId="403a4fd2-7ec7-41b1-8d15-217fcc0db286" providerId="ADAL" clId="{5AC2EF88-EF2A-4D7A-B10B-4345843E9EA6}" dt="2023-02-03T08:16:47.915" v="18" actId="20577"/>
          <ac:spMkLst>
            <pc:docMk/>
            <pc:sldMk cId="1569229621" sldId="273"/>
            <ac:spMk id="2" creationId="{B68699D3-702C-C86A-8C1C-F1C5B25E725D}"/>
          </ac:spMkLst>
        </pc:spChg>
        <pc:spChg chg="add mod">
          <ac:chgData name="Sangeetha Ramakrishnan" userId="403a4fd2-7ec7-41b1-8d15-217fcc0db286" providerId="ADAL" clId="{5AC2EF88-EF2A-4D7A-B10B-4345843E9EA6}" dt="2023-02-03T08:20:05.634" v="191" actId="20577"/>
          <ac:spMkLst>
            <pc:docMk/>
            <pc:sldMk cId="1569229621" sldId="273"/>
            <ac:spMk id="4" creationId="{41AD8F63-5B4A-BEEA-BC16-EF20BE0C97F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g1cf28d1ed19_0_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3" name="Google Shape;223;g1cf28d1ed19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oogle Shape;23;p55"/>
          <p:cNvPicPr preferRelativeResize="0"/>
          <p:nvPr/>
        </p:nvPicPr>
        <p:blipFill rotWithShape="1">
          <a:blip r:embed="rId2">
            <a:alphaModFix/>
          </a:blip>
          <a:srcRect t="35142"/>
          <a:stretch/>
        </p:blipFill>
        <p:spPr>
          <a:xfrm>
            <a:off x="10807871" y="-1"/>
            <a:ext cx="1128643" cy="10522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4" name="Google Shape;24;p55"/>
          <p:cNvCxnSpPr/>
          <p:nvPr/>
        </p:nvCxnSpPr>
        <p:spPr>
          <a:xfrm>
            <a:off x="354497" y="1083364"/>
            <a:ext cx="11837503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5" name="Google Shape;25;p5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44809" y="393714"/>
            <a:ext cx="1192695" cy="279141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55"/>
          <p:cNvSpPr txBox="1"/>
          <p:nvPr/>
        </p:nvSpPr>
        <p:spPr>
          <a:xfrm rot="-5400000">
            <a:off x="-864766" y="5588488"/>
            <a:ext cx="1997756" cy="268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900"/>
              <a:buFont typeface="Arial"/>
              <a:buNone/>
            </a:pPr>
            <a:r>
              <a:rPr lang="en-US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© 2022-2023 Sterlite Technologies Limited</a:t>
            </a:r>
            <a:endParaRPr sz="7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7;p55"/>
          <p:cNvSpPr txBox="1">
            <a:spLocks noGrp="1"/>
          </p:cNvSpPr>
          <p:nvPr>
            <p:ph type="title"/>
          </p:nvPr>
        </p:nvSpPr>
        <p:spPr>
          <a:xfrm>
            <a:off x="543342" y="267957"/>
            <a:ext cx="10515600" cy="5571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55"/>
          <p:cNvSpPr txBox="1"/>
          <p:nvPr/>
        </p:nvSpPr>
        <p:spPr>
          <a:xfrm>
            <a:off x="11372193" y="6495816"/>
            <a:ext cx="495128" cy="257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-US" sz="1100" b="1" i="0" u="none" strike="noStrike" cap="none">
                <a:solidFill>
                  <a:srgbClr val="9550F4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100" b="1" i="0" u="none" strike="noStrike" cap="none">
              <a:solidFill>
                <a:srgbClr val="9550F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9" name="Google Shape;29;p55"/>
          <p:cNvCxnSpPr/>
          <p:nvPr/>
        </p:nvCxnSpPr>
        <p:spPr>
          <a:xfrm>
            <a:off x="354497" y="6643336"/>
            <a:ext cx="11185862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0" name="Google Shape;30;p55"/>
          <p:cNvPicPr preferRelativeResize="0"/>
          <p:nvPr/>
        </p:nvPicPr>
        <p:blipFill rotWithShape="1">
          <a:blip r:embed="rId4">
            <a:alphaModFix amt="31000"/>
          </a:blip>
          <a:srcRect l="4518" r="4518"/>
          <a:stretch/>
        </p:blipFill>
        <p:spPr>
          <a:xfrm rot="9459934">
            <a:off x="5722903" y="3650571"/>
            <a:ext cx="7018657" cy="34588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ustom Layout">
  <p:cSld name="6_Custom Layou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59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sp>
      <p:pic>
        <p:nvPicPr>
          <p:cNvPr id="38" name="Google Shape;38;p59"/>
          <p:cNvPicPr preferRelativeResize="0"/>
          <p:nvPr/>
        </p:nvPicPr>
        <p:blipFill rotWithShape="1">
          <a:blip r:embed="rId2">
            <a:alphaModFix amt="32000"/>
          </a:blip>
          <a:srcRect/>
          <a:stretch/>
        </p:blipFill>
        <p:spPr>
          <a:xfrm rot="9572062">
            <a:off x="8194440" y="4388671"/>
            <a:ext cx="8452978" cy="37892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Google Shape;39;p59"/>
          <p:cNvPicPr preferRelativeResize="0"/>
          <p:nvPr/>
        </p:nvPicPr>
        <p:blipFill rotWithShape="1">
          <a:blip r:embed="rId2">
            <a:alphaModFix amt="32000"/>
          </a:blip>
          <a:srcRect/>
          <a:stretch/>
        </p:blipFill>
        <p:spPr>
          <a:xfrm rot="-3800112">
            <a:off x="-3508999" y="5076609"/>
            <a:ext cx="5383718" cy="2413391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59"/>
          <p:cNvSpPr txBox="1">
            <a:spLocks noGrp="1"/>
          </p:cNvSpPr>
          <p:nvPr>
            <p:ph type="body" idx="1"/>
          </p:nvPr>
        </p:nvSpPr>
        <p:spPr>
          <a:xfrm>
            <a:off x="827088" y="2527937"/>
            <a:ext cx="5573712" cy="1616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4800"/>
              <a:buNone/>
              <a:defRPr sz="4800" b="1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59"/>
          <p:cNvSpPr txBox="1">
            <a:spLocks noGrp="1"/>
          </p:cNvSpPr>
          <p:nvPr>
            <p:ph type="body" idx="3"/>
          </p:nvPr>
        </p:nvSpPr>
        <p:spPr>
          <a:xfrm>
            <a:off x="827088" y="4456946"/>
            <a:ext cx="5573712" cy="495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2800"/>
              <a:buNone/>
              <a:defRPr sz="2800" b="1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59"/>
          <p:cNvSpPr txBox="1">
            <a:spLocks noGrp="1"/>
          </p:cNvSpPr>
          <p:nvPr>
            <p:ph type="body" idx="4"/>
          </p:nvPr>
        </p:nvSpPr>
        <p:spPr>
          <a:xfrm>
            <a:off x="827088" y="5183455"/>
            <a:ext cx="5573712" cy="495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1800"/>
              <a:buNone/>
              <a:defRPr sz="1800" b="1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59"/>
          <p:cNvSpPr txBox="1">
            <a:spLocks noGrp="1"/>
          </p:cNvSpPr>
          <p:nvPr>
            <p:ph type="body" idx="5"/>
          </p:nvPr>
        </p:nvSpPr>
        <p:spPr>
          <a:xfrm>
            <a:off x="10434552" y="700133"/>
            <a:ext cx="1339913" cy="251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1200"/>
              <a:buNone/>
              <a:defRPr sz="1200" b="1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  <a:defRPr sz="3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4" name="Google Shape;44;p5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22857" y="570396"/>
            <a:ext cx="2433206" cy="56947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oogle Shape;46;p60"/>
          <p:cNvPicPr preferRelativeResize="0"/>
          <p:nvPr/>
        </p:nvPicPr>
        <p:blipFill rotWithShape="1">
          <a:blip r:embed="rId2">
            <a:alphaModFix amt="32000"/>
          </a:blip>
          <a:srcRect/>
          <a:stretch/>
        </p:blipFill>
        <p:spPr>
          <a:xfrm rot="-9190441">
            <a:off x="-522181" y="3993187"/>
            <a:ext cx="7715828" cy="3458820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47;p60"/>
          <p:cNvSpPr/>
          <p:nvPr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Google Shape;48;p60"/>
          <p:cNvSpPr txBox="1"/>
          <p:nvPr/>
        </p:nvSpPr>
        <p:spPr>
          <a:xfrm rot="-5400000">
            <a:off x="-859593" y="5588487"/>
            <a:ext cx="1997756" cy="268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900"/>
              <a:buFont typeface="Arial"/>
              <a:buNone/>
            </a:pPr>
            <a:r>
              <a:rPr lang="en-US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© 2022-2023 Sterlite Technologies Limited</a:t>
            </a:r>
            <a:endParaRPr sz="7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49;p60"/>
          <p:cNvSpPr txBox="1"/>
          <p:nvPr/>
        </p:nvSpPr>
        <p:spPr>
          <a:xfrm>
            <a:off x="11372193" y="6495816"/>
            <a:ext cx="495128" cy="257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-US" sz="1100" b="1" i="0" u="none" strike="noStrike" cap="none">
                <a:solidFill>
                  <a:srgbClr val="9550F4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100" b="1" i="0" u="none" strike="noStrike" cap="none">
              <a:solidFill>
                <a:srgbClr val="9550F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0" name="Google Shape;50;p60"/>
          <p:cNvCxnSpPr/>
          <p:nvPr/>
        </p:nvCxnSpPr>
        <p:spPr>
          <a:xfrm>
            <a:off x="354497" y="6643336"/>
            <a:ext cx="11185862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" name="Google Shape;51;p60"/>
          <p:cNvSpPr>
            <a:spLocks noGrp="1"/>
          </p:cNvSpPr>
          <p:nvPr>
            <p:ph type="pic" idx="2"/>
          </p:nvPr>
        </p:nvSpPr>
        <p:spPr>
          <a:xfrm>
            <a:off x="354013" y="0"/>
            <a:ext cx="11837987" cy="3429000"/>
          </a:xfrm>
          <a:prstGeom prst="rect">
            <a:avLst/>
          </a:prstGeom>
          <a:noFill/>
          <a:ln>
            <a:noFill/>
          </a:ln>
        </p:spPr>
      </p:sp>
      <p:sp>
        <p:nvSpPr>
          <p:cNvPr id="52" name="Google Shape;52;p60"/>
          <p:cNvSpPr txBox="1">
            <a:spLocks noGrp="1"/>
          </p:cNvSpPr>
          <p:nvPr>
            <p:ph type="body" idx="1"/>
          </p:nvPr>
        </p:nvSpPr>
        <p:spPr>
          <a:xfrm>
            <a:off x="1011570" y="4110038"/>
            <a:ext cx="3709987" cy="2227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b="1">
                <a:latin typeface="Arial"/>
                <a:ea typeface="Arial"/>
                <a:cs typeface="Arial"/>
                <a:sym typeface="Arial"/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60"/>
          <p:cNvSpPr txBox="1">
            <a:spLocks noGrp="1"/>
          </p:cNvSpPr>
          <p:nvPr>
            <p:ph type="body" idx="3"/>
          </p:nvPr>
        </p:nvSpPr>
        <p:spPr>
          <a:xfrm>
            <a:off x="5378630" y="4110038"/>
            <a:ext cx="6403467" cy="398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>
                <a:latin typeface="Arial"/>
                <a:ea typeface="Arial"/>
                <a:cs typeface="Arial"/>
                <a:sym typeface="Arial"/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60"/>
          <p:cNvSpPr txBox="1">
            <a:spLocks noGrp="1"/>
          </p:cNvSpPr>
          <p:nvPr>
            <p:ph type="body" idx="4"/>
          </p:nvPr>
        </p:nvSpPr>
        <p:spPr>
          <a:xfrm>
            <a:off x="5378630" y="4894448"/>
            <a:ext cx="6403467" cy="398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 b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5" name="Google Shape;55;p60"/>
          <p:cNvPicPr preferRelativeResize="0"/>
          <p:nvPr/>
        </p:nvPicPr>
        <p:blipFill rotWithShape="1">
          <a:blip r:embed="rId3">
            <a:alphaModFix/>
          </a:blip>
          <a:srcRect t="35142"/>
          <a:stretch/>
        </p:blipFill>
        <p:spPr>
          <a:xfrm>
            <a:off x="10807871" y="-1"/>
            <a:ext cx="1128643" cy="1052271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56;p6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644809" y="393714"/>
            <a:ext cx="1192695" cy="279141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60"/>
          <p:cNvSpPr txBox="1"/>
          <p:nvPr/>
        </p:nvSpPr>
        <p:spPr>
          <a:xfrm rot="-5400000">
            <a:off x="-864766" y="5588488"/>
            <a:ext cx="1997756" cy="268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900"/>
              <a:buFont typeface="Arial"/>
              <a:buNone/>
            </a:pPr>
            <a:r>
              <a:rPr lang="en-US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© 2022-2023 Sterlite Technologies Limited</a:t>
            </a:r>
            <a:endParaRPr sz="7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ustom Layout">
  <p:cSld name="3_Custom Layou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62"/>
          <p:cNvPicPr preferRelativeResize="0"/>
          <p:nvPr/>
        </p:nvPicPr>
        <p:blipFill rotWithShape="1">
          <a:blip r:embed="rId2">
            <a:alphaModFix amt="30000"/>
          </a:blip>
          <a:srcRect/>
          <a:stretch/>
        </p:blipFill>
        <p:spPr>
          <a:xfrm rot="3395250">
            <a:off x="-1921381" y="3617521"/>
            <a:ext cx="7715828" cy="345882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62"/>
          <p:cNvSpPr txBox="1"/>
          <p:nvPr/>
        </p:nvSpPr>
        <p:spPr>
          <a:xfrm>
            <a:off x="11372193" y="6495816"/>
            <a:ext cx="495128" cy="257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-US" sz="1100" b="1" i="0" u="none" strike="noStrike" cap="none">
                <a:solidFill>
                  <a:srgbClr val="9550F4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100" b="1" i="0" u="none" strike="noStrike" cap="none">
              <a:solidFill>
                <a:srgbClr val="9550F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1" name="Google Shape;61;p62"/>
          <p:cNvCxnSpPr/>
          <p:nvPr/>
        </p:nvCxnSpPr>
        <p:spPr>
          <a:xfrm>
            <a:off x="354497" y="6643336"/>
            <a:ext cx="11185862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" name="Google Shape;62;p62"/>
          <p:cNvSpPr/>
          <p:nvPr/>
        </p:nvSpPr>
        <p:spPr>
          <a:xfrm>
            <a:off x="7524309" y="0"/>
            <a:ext cx="4667691" cy="6857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" name="Google Shape;63;p62"/>
          <p:cNvSpPr>
            <a:spLocks noGrp="1"/>
          </p:cNvSpPr>
          <p:nvPr>
            <p:ph type="pic" idx="2"/>
          </p:nvPr>
        </p:nvSpPr>
        <p:spPr>
          <a:xfrm>
            <a:off x="7554127" y="0"/>
            <a:ext cx="4637873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62"/>
          <p:cNvSpPr txBox="1">
            <a:spLocks noGrp="1"/>
          </p:cNvSpPr>
          <p:nvPr>
            <p:ph type="body" idx="1"/>
          </p:nvPr>
        </p:nvSpPr>
        <p:spPr>
          <a:xfrm>
            <a:off x="1330231" y="2347913"/>
            <a:ext cx="5167313" cy="779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2800"/>
              <a:buNone/>
              <a:defRPr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2"/>
          <p:cNvSpPr txBox="1">
            <a:spLocks noGrp="1"/>
          </p:cNvSpPr>
          <p:nvPr>
            <p:ph type="body" idx="3"/>
          </p:nvPr>
        </p:nvSpPr>
        <p:spPr>
          <a:xfrm>
            <a:off x="1330231" y="3658736"/>
            <a:ext cx="5167313" cy="779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95959"/>
              </a:buClr>
              <a:buSzPts val="1200"/>
              <a:buNone/>
              <a:defRPr sz="1200" b="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62"/>
          <p:cNvSpPr txBox="1">
            <a:spLocks noGrp="1"/>
          </p:cNvSpPr>
          <p:nvPr>
            <p:ph type="body" idx="4"/>
          </p:nvPr>
        </p:nvSpPr>
        <p:spPr>
          <a:xfrm>
            <a:off x="1330231" y="925927"/>
            <a:ext cx="5167313" cy="779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95959"/>
              </a:buClr>
              <a:buSzPts val="1200"/>
              <a:buNone/>
              <a:defRPr sz="1200" b="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62"/>
          <p:cNvSpPr txBox="1">
            <a:spLocks noGrp="1"/>
          </p:cNvSpPr>
          <p:nvPr>
            <p:ph type="body" idx="5"/>
          </p:nvPr>
        </p:nvSpPr>
        <p:spPr>
          <a:xfrm>
            <a:off x="1470508" y="5071900"/>
            <a:ext cx="1323109" cy="779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95959"/>
              </a:buClr>
              <a:buSzPts val="1000"/>
              <a:buNone/>
              <a:defRPr sz="1000" b="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62"/>
          <p:cNvSpPr txBox="1">
            <a:spLocks noGrp="1"/>
          </p:cNvSpPr>
          <p:nvPr>
            <p:ph type="body" idx="6"/>
          </p:nvPr>
        </p:nvSpPr>
        <p:spPr>
          <a:xfrm>
            <a:off x="1330231" y="4478049"/>
            <a:ext cx="1603663" cy="779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 sz="18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62"/>
          <p:cNvSpPr txBox="1">
            <a:spLocks noGrp="1"/>
          </p:cNvSpPr>
          <p:nvPr>
            <p:ph type="body" idx="7"/>
          </p:nvPr>
        </p:nvSpPr>
        <p:spPr>
          <a:xfrm>
            <a:off x="3299308" y="5071900"/>
            <a:ext cx="1323109" cy="779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95959"/>
              </a:buClr>
              <a:buSzPts val="1000"/>
              <a:buNone/>
              <a:defRPr sz="1000" b="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62"/>
          <p:cNvSpPr txBox="1">
            <a:spLocks noGrp="1"/>
          </p:cNvSpPr>
          <p:nvPr>
            <p:ph type="body" idx="8"/>
          </p:nvPr>
        </p:nvSpPr>
        <p:spPr>
          <a:xfrm>
            <a:off x="3159031" y="4478049"/>
            <a:ext cx="1603663" cy="779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 sz="18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62"/>
          <p:cNvSpPr txBox="1">
            <a:spLocks noGrp="1"/>
          </p:cNvSpPr>
          <p:nvPr>
            <p:ph type="body" idx="9"/>
          </p:nvPr>
        </p:nvSpPr>
        <p:spPr>
          <a:xfrm>
            <a:off x="5055372" y="5071900"/>
            <a:ext cx="1323109" cy="779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95959"/>
              </a:buClr>
              <a:buSzPts val="1000"/>
              <a:buNone/>
              <a:defRPr sz="1000" b="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" name="Google Shape;72;p62"/>
          <p:cNvSpPr txBox="1">
            <a:spLocks noGrp="1"/>
          </p:cNvSpPr>
          <p:nvPr>
            <p:ph type="body" idx="13"/>
          </p:nvPr>
        </p:nvSpPr>
        <p:spPr>
          <a:xfrm>
            <a:off x="4915095" y="4478049"/>
            <a:ext cx="1603663" cy="779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 sz="1800" b="1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62"/>
          <p:cNvSpPr txBox="1"/>
          <p:nvPr/>
        </p:nvSpPr>
        <p:spPr>
          <a:xfrm rot="-5400000">
            <a:off x="-864766" y="5588488"/>
            <a:ext cx="1997756" cy="268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900"/>
              <a:buFont typeface="Arial"/>
              <a:buNone/>
            </a:pPr>
            <a:r>
              <a:rPr lang="en-US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© 2022-2023 Sterlite Technologies Limited</a:t>
            </a:r>
            <a:endParaRPr sz="7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bg>
      <p:bgPr>
        <a:solidFill>
          <a:schemeClr val="lt1">
            <a:alpha val="30196"/>
          </a:schemeClr>
        </a:solidFill>
        <a:effectLst/>
      </p:bgPr>
    </p:bg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Google Shape;75;p45"/>
          <p:cNvPicPr preferRelativeResize="0"/>
          <p:nvPr/>
        </p:nvPicPr>
        <p:blipFill rotWithShape="1">
          <a:blip r:embed="rId2">
            <a:alphaModFix/>
          </a:blip>
          <a:srcRect t="35142"/>
          <a:stretch/>
        </p:blipFill>
        <p:spPr>
          <a:xfrm>
            <a:off x="10807871" y="-1"/>
            <a:ext cx="1128643" cy="10522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6" name="Google Shape;76;p45"/>
          <p:cNvCxnSpPr/>
          <p:nvPr/>
        </p:nvCxnSpPr>
        <p:spPr>
          <a:xfrm>
            <a:off x="354497" y="1083364"/>
            <a:ext cx="11837503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77" name="Google Shape;77;p4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44809" y="393714"/>
            <a:ext cx="1192695" cy="279141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Google Shape;78;p45"/>
          <p:cNvSpPr txBox="1"/>
          <p:nvPr/>
        </p:nvSpPr>
        <p:spPr>
          <a:xfrm rot="-5400000">
            <a:off x="-864766" y="5588488"/>
            <a:ext cx="1997756" cy="268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900"/>
              <a:buFont typeface="Arial"/>
              <a:buNone/>
            </a:pPr>
            <a:r>
              <a:rPr lang="en-US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© 2022-2023 Sterlite Technologies Limited</a:t>
            </a:r>
            <a:endParaRPr sz="7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79;p45"/>
          <p:cNvSpPr txBox="1">
            <a:spLocks noGrp="1"/>
          </p:cNvSpPr>
          <p:nvPr>
            <p:ph type="title"/>
          </p:nvPr>
        </p:nvSpPr>
        <p:spPr>
          <a:xfrm>
            <a:off x="543342" y="267957"/>
            <a:ext cx="10515600" cy="5571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400"/>
              <a:buNone/>
              <a:defRPr sz="28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45"/>
          <p:cNvSpPr txBox="1"/>
          <p:nvPr/>
        </p:nvSpPr>
        <p:spPr>
          <a:xfrm>
            <a:off x="11372193" y="6495816"/>
            <a:ext cx="495128" cy="257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-US" sz="1100" b="1" i="0" u="none" strike="noStrike" cap="none">
                <a:solidFill>
                  <a:srgbClr val="9550F4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100" b="1" i="0" u="none" strike="noStrike" cap="none">
              <a:solidFill>
                <a:srgbClr val="9550F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1" name="Google Shape;81;p45"/>
          <p:cNvCxnSpPr/>
          <p:nvPr/>
        </p:nvCxnSpPr>
        <p:spPr>
          <a:xfrm>
            <a:off x="354497" y="6643336"/>
            <a:ext cx="11185862" cy="0"/>
          </a:xfrm>
          <a:prstGeom prst="straightConnector1">
            <a:avLst/>
          </a:prstGeom>
          <a:noFill/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2" name="Google Shape;82;p45"/>
          <p:cNvPicPr preferRelativeResize="0"/>
          <p:nvPr/>
        </p:nvPicPr>
        <p:blipFill rotWithShape="1">
          <a:blip r:embed="rId4">
            <a:alphaModFix amt="31000"/>
          </a:blip>
          <a:srcRect l="4518" r="4518"/>
          <a:stretch/>
        </p:blipFill>
        <p:spPr>
          <a:xfrm rot="9459934">
            <a:off x="5722903" y="3650571"/>
            <a:ext cx="7018657" cy="34588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9A453-8AAB-234F-8CAC-CDA3EA749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6D50D4-5540-2A47-A4D8-283DCB3CA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95375-73DB-4E82-BB27-0839ED200207}" type="datetime1">
              <a:rPr lang="en-US" smtClean="0"/>
              <a:t>2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3EFF99-1E7F-AF4A-B40F-0ADF5D315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is slide is 100% editable. Adapt it to your needs and capture your audience's attention. 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2D9004E-F337-4225-8C01-844343C113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0500" y="685800"/>
            <a:ext cx="11811002" cy="2667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>
                <a:solidFill>
                  <a:schemeClr val="tx2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90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90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90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1802762-77F3-49CA-88FD-842CDA53A8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77185" y="6622247"/>
            <a:ext cx="326722" cy="1783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2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6FDA8F3-67E4-1547-B1C0-046794D380B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9616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&amp; Content">
  <p:cSld name="1_Title &amp;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Google Shape;43;p26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10113979" y="14354"/>
            <a:ext cx="1809907" cy="2057231"/>
          </a:xfrm>
          <a:prstGeom prst="rect">
            <a:avLst/>
          </a:prstGeom>
          <a:noFill/>
          <a:ln>
            <a:noFill/>
          </a:ln>
        </p:spPr>
      </p:pic>
      <p:sp>
        <p:nvSpPr>
          <p:cNvPr id="44" name="Google Shape;44;p26"/>
          <p:cNvSpPr/>
          <p:nvPr/>
        </p:nvSpPr>
        <p:spPr>
          <a:xfrm rot="10800000" flipH="1">
            <a:off x="463637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AEABAB"/>
              </a:gs>
              <a:gs pos="96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14000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</a:pPr>
            <a:endParaRPr sz="3200" b="0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26"/>
          <p:cNvSpPr txBox="1">
            <a:spLocks noGrp="1"/>
          </p:cNvSpPr>
          <p:nvPr>
            <p:ph type="title"/>
          </p:nvPr>
        </p:nvSpPr>
        <p:spPr>
          <a:xfrm>
            <a:off x="463639" y="213332"/>
            <a:ext cx="9070253" cy="800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1" tIns="45699" rIns="91431" bIns="45699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2400"/>
              <a:buFont typeface="Arial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26"/>
          <p:cNvSpPr txBox="1">
            <a:spLocks noGrp="1"/>
          </p:cNvSpPr>
          <p:nvPr>
            <p:ph type="body" idx="1"/>
          </p:nvPr>
        </p:nvSpPr>
        <p:spPr>
          <a:xfrm>
            <a:off x="463639" y="1656453"/>
            <a:ext cx="10683431" cy="4260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1" tIns="45699" rIns="91431" bIns="45699" anchor="t" anchorCtr="0">
            <a:normAutofit/>
          </a:bodyPr>
          <a:lstStyle>
            <a:lvl1pPr marL="609585" lvl="0" indent="-431789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62626"/>
              </a:buClr>
              <a:buSzPts val="1500"/>
              <a:buChar char="•"/>
              <a:defRPr sz="2000"/>
            </a:lvl1pPr>
            <a:lvl2pPr marL="1219170" lvl="1" indent="-431789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62626"/>
              </a:buClr>
              <a:buSzPts val="1500"/>
              <a:buChar char="•"/>
              <a:defRPr sz="2000"/>
            </a:lvl2pPr>
            <a:lvl3pPr marL="1828754" lvl="2" indent="-431789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62626"/>
              </a:buClr>
              <a:buSzPts val="1500"/>
              <a:buChar char="•"/>
              <a:defRPr sz="2000"/>
            </a:lvl3pPr>
            <a:lvl4pPr marL="2438339" lvl="3" indent="-431789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62626"/>
              </a:buClr>
              <a:buSzPts val="1500"/>
              <a:buChar char="•"/>
              <a:defRPr sz="2000"/>
            </a:lvl4pPr>
            <a:lvl5pPr marL="3047924" lvl="4" indent="-431789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262626"/>
              </a:buClr>
              <a:buSzPts val="1500"/>
              <a:buChar char="•"/>
              <a:defRPr sz="2000"/>
            </a:lvl5pPr>
            <a:lvl6pPr marL="3657509" lvl="5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26"/>
          <p:cNvSpPr txBox="1">
            <a:spLocks noGrp="1"/>
          </p:cNvSpPr>
          <p:nvPr>
            <p:ph type="sldNum" idx="12"/>
          </p:nvPr>
        </p:nvSpPr>
        <p:spPr>
          <a:xfrm>
            <a:off x="11924169" y="6605588"/>
            <a:ext cx="245751" cy="430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99" tIns="45699" rIns="45699" bIns="45699" anchor="t" anchorCtr="0">
            <a:sp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Google Shape;48;p26"/>
          <p:cNvSpPr/>
          <p:nvPr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Google Shape;49;p26"/>
          <p:cNvSpPr/>
          <p:nvPr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" name="Google Shape;50;p26"/>
          <p:cNvSpPr/>
          <p:nvPr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51;p26"/>
          <p:cNvSpPr/>
          <p:nvPr/>
        </p:nvSpPr>
        <p:spPr>
          <a:xfrm>
            <a:off x="-786211" y="3979338"/>
            <a:ext cx="251011" cy="251011"/>
          </a:xfrm>
          <a:prstGeom prst="ellipse">
            <a:avLst/>
          </a:prstGeom>
          <a:solidFill>
            <a:srgbClr val="F78423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" name="Google Shape;52;p26"/>
          <p:cNvSpPr/>
          <p:nvPr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" name="Google Shape;53;p26"/>
          <p:cNvSpPr/>
          <p:nvPr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p26"/>
          <p:cNvSpPr txBox="1"/>
          <p:nvPr/>
        </p:nvSpPr>
        <p:spPr>
          <a:xfrm>
            <a:off x="-977779" y="4785917"/>
            <a:ext cx="634147" cy="430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99" tIns="45699" rIns="45699" bIns="45699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Calibri"/>
              <a:buNone/>
            </a:pPr>
            <a:r>
              <a:rPr lang="en-US" sz="1100" b="0" i="0" u="none" strike="noStrike" cap="none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Text color</a:t>
            </a:r>
            <a:endParaRPr sz="19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55;p26"/>
          <p:cNvSpPr/>
          <p:nvPr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rgbClr val="262626"/>
          </a:solidFill>
          <a:ln>
            <a:noFill/>
          </a:ln>
        </p:spPr>
        <p:txBody>
          <a:bodyPr spcFirstLastPara="1" wrap="square" lIns="45699" tIns="45699" rIns="45699" bIns="4569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endParaRPr sz="1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" name="Google Shape;56;p26"/>
          <p:cNvSpPr txBox="1"/>
          <p:nvPr/>
        </p:nvSpPr>
        <p:spPr>
          <a:xfrm>
            <a:off x="-1008235" y="1503652"/>
            <a:ext cx="695060" cy="430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99" tIns="45699" rIns="45699" bIns="45699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Calibri"/>
              <a:buNone/>
            </a:pPr>
            <a:r>
              <a:rPr lang="en-US" sz="1100" b="0" i="0" u="none" strike="noStrike" cap="none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rand color</a:t>
            </a:r>
            <a:endParaRPr sz="19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7;p26"/>
          <p:cNvSpPr txBox="1"/>
          <p:nvPr/>
        </p:nvSpPr>
        <p:spPr>
          <a:xfrm>
            <a:off x="-1093315" y="2220662"/>
            <a:ext cx="897037" cy="600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699" tIns="45699" rIns="45699" bIns="45699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Calibri"/>
              <a:buNone/>
            </a:pPr>
            <a:r>
              <a:rPr lang="en-US" sz="1100" b="0" i="0" u="none" strike="noStrike" cap="none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omplimentary</a:t>
            </a:r>
            <a:endParaRPr sz="19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Calibri"/>
              <a:buNone/>
            </a:pPr>
            <a:r>
              <a:rPr lang="en-US" sz="1100" b="0" i="0" u="none" strike="noStrike" cap="none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olors</a:t>
            </a:r>
            <a:endParaRPr sz="19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58;p26"/>
          <p:cNvSpPr txBox="1">
            <a:spLocks noGrp="1"/>
          </p:cNvSpPr>
          <p:nvPr>
            <p:ph type="ftr" idx="11"/>
          </p:nvPr>
        </p:nvSpPr>
        <p:spPr>
          <a:xfrm>
            <a:off x="-1799" y="6605589"/>
            <a:ext cx="2774339" cy="280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1" tIns="45699" rIns="91431" bIns="45699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700"/>
              <a:buFont typeface="Arial"/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  <a:defRPr/>
            </a:lvl9pPr>
          </a:lstStyle>
          <a:p>
            <a:endParaRPr dirty="0"/>
          </a:p>
        </p:txBody>
      </p:sp>
      <p:pic>
        <p:nvPicPr>
          <p:cNvPr id="59" name="Google Shape;59;p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46472" y="469959"/>
            <a:ext cx="1059901" cy="41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00291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&amp; no content">
  <p:cSld name="1_Title &amp; no content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oogle Shape;48;p4"/>
          <p:cNvPicPr preferRelativeResize="0"/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49;p4"/>
          <p:cNvSpPr/>
          <p:nvPr/>
        </p:nvSpPr>
        <p:spPr>
          <a:xfrm rot="10800000" flipH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AEABAB"/>
              </a:gs>
              <a:gs pos="9600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14000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" name="Google Shape;50;p4"/>
          <p:cNvSpPr txBox="1"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4"/>
          <p:cNvSpPr txBox="1">
            <a:spLocks noGrp="1"/>
          </p:cNvSpPr>
          <p:nvPr>
            <p:ph type="sldNum" idx="12"/>
          </p:nvPr>
        </p:nvSpPr>
        <p:spPr>
          <a:xfrm>
            <a:off x="11924168" y="6605588"/>
            <a:ext cx="245751" cy="225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11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11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11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11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11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11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11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11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29292"/>
              </a:buClr>
              <a:buSzPts val="1100"/>
              <a:buFont typeface="Calibri"/>
              <a:buNone/>
              <a:defRPr sz="1100" b="0" i="0" u="none" strike="noStrike" cap="none">
                <a:solidFill>
                  <a:srgbClr val="9292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52" name="Google Shape;52;p4"/>
          <p:cNvSpPr/>
          <p:nvPr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" name="Google Shape;53;p4"/>
          <p:cNvSpPr/>
          <p:nvPr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p4"/>
          <p:cNvSpPr/>
          <p:nvPr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55;p4"/>
          <p:cNvSpPr/>
          <p:nvPr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" name="Google Shape;56;p4"/>
          <p:cNvSpPr/>
          <p:nvPr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" name="Google Shape;57;p4"/>
          <p:cNvSpPr/>
          <p:nvPr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58;p4"/>
          <p:cNvSpPr txBox="1"/>
          <p:nvPr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Text color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4"/>
          <p:cNvSpPr/>
          <p:nvPr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rgbClr val="262626"/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60;p4"/>
          <p:cNvSpPr txBox="1"/>
          <p:nvPr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Brand color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4"/>
          <p:cNvSpPr txBox="1"/>
          <p:nvPr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omplimentar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</a:pPr>
            <a:r>
              <a:rPr lang="en"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olor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62;p4"/>
          <p:cNvSpPr txBox="1">
            <a:spLocks noGrp="1"/>
          </p:cNvSpPr>
          <p:nvPr>
            <p:ph type="ftr" idx="11"/>
          </p:nvPr>
        </p:nvSpPr>
        <p:spPr>
          <a:xfrm>
            <a:off x="-1799" y="6605588"/>
            <a:ext cx="2774338" cy="280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900"/>
              <a:buFont typeface="Arial"/>
              <a:buNone/>
              <a:defRPr sz="90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 dirty="0"/>
          </a:p>
        </p:txBody>
      </p:sp>
      <p:pic>
        <p:nvPicPr>
          <p:cNvPr id="63" name="Google Shape;63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646473" y="469958"/>
            <a:ext cx="1059902" cy="41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203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hangingPunct="0"/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4EA49B2-B2FF-4947-9709-2F2021A6BF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13978" y="14354"/>
            <a:ext cx="1809906" cy="2057231"/>
          </a:xfrm>
          <a:prstGeom prst="rect">
            <a:avLst/>
          </a:prstGeom>
        </p:spPr>
      </p:pic>
      <p:sp>
        <p:nvSpPr>
          <p:cNvPr id="24" name="Rectangle">
            <a:extLst>
              <a:ext uri="{FF2B5EF4-FFF2-40B4-BE49-F238E27FC236}">
                <a16:creationId xmlns:a16="http://schemas.microsoft.com/office/drawing/2014/main" id="{3458FAF4-B7CB-1340-8901-F7EC7F2C62B1}"/>
              </a:ext>
            </a:extLst>
          </p:cNvPr>
          <p:cNvSpPr/>
          <p:nvPr userDrawn="1"/>
        </p:nvSpPr>
        <p:spPr>
          <a:xfrm flipV="1">
            <a:off x="463638" y="1013885"/>
            <a:ext cx="11252267" cy="18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2">
                  <a:lumMod val="75000"/>
                </a:schemeClr>
              </a:gs>
              <a:gs pos="96000">
                <a:schemeClr val="bg1">
                  <a:alpha val="0"/>
                </a:schemeClr>
              </a:gs>
            </a:gsLst>
            <a:lin ang="1140000" scaled="0"/>
          </a:gra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32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3A3218-217B-494A-AA85-B666F0B4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639" y="213332"/>
            <a:ext cx="9070253" cy="80055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34EBBD-F344-BC42-8A59-4A611AD90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639" y="1656452"/>
            <a:ext cx="10683430" cy="426085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062C53C-70C0-244F-ABC2-135CA0E50B06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874531" y="6623518"/>
            <a:ext cx="327095" cy="22570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21B9F41-F234-5646-8C69-31DB1DDE0F7A}"/>
              </a:ext>
            </a:extLst>
          </p:cNvPr>
          <p:cNvSpPr/>
          <p:nvPr userDrawn="1"/>
        </p:nvSpPr>
        <p:spPr>
          <a:xfrm>
            <a:off x="-786211" y="1806220"/>
            <a:ext cx="251011" cy="251011"/>
          </a:xfrm>
          <a:prstGeom prst="ellipse">
            <a:avLst/>
          </a:prstGeom>
          <a:solidFill>
            <a:srgbClr val="1B48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hangingPunct="0"/>
            <a:endParaRPr lang="en-US">
              <a:solidFill>
                <a:srgbClr val="000000"/>
              </a:solidFill>
              <a:sym typeface="Calibri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74820F-00D0-3144-9F5F-E63C0E86852F}"/>
              </a:ext>
            </a:extLst>
          </p:cNvPr>
          <p:cNvSpPr/>
          <p:nvPr userDrawn="1"/>
        </p:nvSpPr>
        <p:spPr>
          <a:xfrm>
            <a:off x="-786211" y="2669824"/>
            <a:ext cx="251011" cy="251011"/>
          </a:xfrm>
          <a:prstGeom prst="ellipse">
            <a:avLst/>
          </a:prstGeom>
          <a:solidFill>
            <a:srgbClr val="14C26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hangingPunct="0"/>
            <a:endParaRPr lang="en-US">
              <a:solidFill>
                <a:srgbClr val="000000"/>
              </a:solidFill>
              <a:sym typeface="Calibri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1A83626-8724-9645-A457-B6947B936126}"/>
              </a:ext>
            </a:extLst>
          </p:cNvPr>
          <p:cNvSpPr/>
          <p:nvPr userDrawn="1"/>
        </p:nvSpPr>
        <p:spPr>
          <a:xfrm>
            <a:off x="-786211" y="3544717"/>
            <a:ext cx="251011" cy="251011"/>
          </a:xfrm>
          <a:prstGeom prst="ellipse">
            <a:avLst/>
          </a:prstGeom>
          <a:solidFill>
            <a:srgbClr val="8606B6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hangingPunct="0"/>
            <a:endParaRPr lang="en-US">
              <a:solidFill>
                <a:srgbClr val="000000"/>
              </a:solidFill>
              <a:sym typeface="Calibri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A8B78A6-FFFF-A34A-A215-A200C015C9E0}"/>
              </a:ext>
            </a:extLst>
          </p:cNvPr>
          <p:cNvSpPr/>
          <p:nvPr userDrawn="1"/>
        </p:nvSpPr>
        <p:spPr>
          <a:xfrm>
            <a:off x="-786211" y="3979339"/>
            <a:ext cx="251011" cy="251011"/>
          </a:xfrm>
          <a:prstGeom prst="ellipse">
            <a:avLst/>
          </a:prstGeom>
          <a:solidFill>
            <a:srgbClr val="F78423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hangingPunct="0"/>
            <a:endParaRPr lang="en-US">
              <a:solidFill>
                <a:srgbClr val="000000"/>
              </a:solidFill>
              <a:sym typeface="Calibri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57E2777-89F5-C845-8CEA-52FB08D6DA28}"/>
              </a:ext>
            </a:extLst>
          </p:cNvPr>
          <p:cNvSpPr/>
          <p:nvPr userDrawn="1"/>
        </p:nvSpPr>
        <p:spPr>
          <a:xfrm>
            <a:off x="-786211" y="4413961"/>
            <a:ext cx="251011" cy="251011"/>
          </a:xfrm>
          <a:prstGeom prst="ellipse">
            <a:avLst/>
          </a:prstGeom>
          <a:solidFill>
            <a:srgbClr val="B0005C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hangingPunct="0"/>
            <a:endParaRPr lang="en-US">
              <a:solidFill>
                <a:srgbClr val="000000"/>
              </a:solidFill>
              <a:sym typeface="Calibri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8660B14-6FB3-794C-AA6A-399EFDD5777F}"/>
              </a:ext>
            </a:extLst>
          </p:cNvPr>
          <p:cNvSpPr/>
          <p:nvPr userDrawn="1"/>
        </p:nvSpPr>
        <p:spPr>
          <a:xfrm>
            <a:off x="-786211" y="3127024"/>
            <a:ext cx="251011" cy="251011"/>
          </a:xfrm>
          <a:prstGeom prst="ellipse">
            <a:avLst/>
          </a:prstGeom>
          <a:solidFill>
            <a:srgbClr val="00AEE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hangingPunct="0"/>
            <a:endParaRPr lang="en-US">
              <a:solidFill>
                <a:srgbClr val="000000"/>
              </a:solidFill>
              <a:sym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9ECFFF-C4EB-0948-BA91-2631A7564B83}"/>
              </a:ext>
            </a:extLst>
          </p:cNvPr>
          <p:cNvSpPr txBox="1"/>
          <p:nvPr userDrawn="1"/>
        </p:nvSpPr>
        <p:spPr>
          <a:xfrm>
            <a:off x="-977779" y="4785916"/>
            <a:ext cx="634146" cy="25391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hangingPunct="0"/>
            <a:r>
              <a:rPr lang="en-US" sz="1000" dirty="0">
                <a:solidFill>
                  <a:prstClr val="black">
                    <a:lumMod val="50000"/>
                    <a:lumOff val="50000"/>
                  </a:prstClr>
                </a:solidFill>
                <a:sym typeface="Calibri"/>
              </a:rPr>
              <a:t>Text color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BC27F33-7866-4F4A-9FCF-1DF9C5ACAE7D}"/>
              </a:ext>
            </a:extLst>
          </p:cNvPr>
          <p:cNvSpPr/>
          <p:nvPr userDrawn="1"/>
        </p:nvSpPr>
        <p:spPr>
          <a:xfrm>
            <a:off x="-786211" y="5062901"/>
            <a:ext cx="251011" cy="251011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hangingPunct="0"/>
            <a:endParaRPr lang="en-US">
              <a:solidFill>
                <a:srgbClr val="000000"/>
              </a:solidFill>
              <a:sym typeface="Calibri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AA9D110-9BF5-7947-9FAE-921099CA6FCD}"/>
              </a:ext>
            </a:extLst>
          </p:cNvPr>
          <p:cNvSpPr txBox="1"/>
          <p:nvPr userDrawn="1"/>
        </p:nvSpPr>
        <p:spPr>
          <a:xfrm>
            <a:off x="-1008236" y="1503652"/>
            <a:ext cx="695060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hangingPunct="0"/>
            <a:r>
              <a:rPr lang="en-US" sz="1000" dirty="0">
                <a:solidFill>
                  <a:prstClr val="black">
                    <a:lumMod val="50000"/>
                    <a:lumOff val="50000"/>
                  </a:prstClr>
                </a:solidFill>
                <a:sym typeface="Calibri"/>
              </a:rPr>
              <a:t>Brand colo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22A268-4CEA-F743-8CD9-CE9C39DDAB51}"/>
              </a:ext>
            </a:extLst>
          </p:cNvPr>
          <p:cNvSpPr txBox="1"/>
          <p:nvPr userDrawn="1"/>
        </p:nvSpPr>
        <p:spPr>
          <a:xfrm>
            <a:off x="-1093315" y="2220662"/>
            <a:ext cx="89703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algn="ctr" hangingPunct="0"/>
            <a:r>
              <a:rPr lang="en-US" sz="1000" dirty="0">
                <a:solidFill>
                  <a:prstClr val="black">
                    <a:lumMod val="50000"/>
                    <a:lumOff val="50000"/>
                  </a:prstClr>
                </a:solidFill>
                <a:sym typeface="Calibri"/>
              </a:rPr>
              <a:t>Complimentary</a:t>
            </a:r>
          </a:p>
          <a:p>
            <a:pPr algn="ctr" hangingPunct="0"/>
            <a:r>
              <a:rPr lang="en-US" sz="1000" dirty="0">
                <a:solidFill>
                  <a:prstClr val="black">
                    <a:lumMod val="50000"/>
                    <a:lumOff val="50000"/>
                  </a:prstClr>
                </a:solidFill>
                <a:sym typeface="Calibri"/>
              </a:rPr>
              <a:t>color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6E8E7FBD-0A83-A040-AEE3-94907C38B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1799" y="6605588"/>
            <a:ext cx="2774338" cy="2801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lumMod val="50000"/>
                    <a:lumOff val="50000"/>
                  </a:prstClr>
                </a:solidFill>
              </a:rPr>
              <a:t>© 2020-2021 Sterlite Technologies Limited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398F952-2206-8741-8051-9CCFBACFD6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4813" b="17987"/>
          <a:stretch/>
        </p:blipFill>
        <p:spPr>
          <a:xfrm>
            <a:off x="10646473" y="467750"/>
            <a:ext cx="1053769" cy="41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32487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5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5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5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5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towardsdatascience.com/the-practical-guide-for-object-detection-with-yolov5-algorithm-74c04aac4843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jpg"/><Relationship Id="rId4" Type="http://schemas.openxmlformats.org/officeDocument/2006/relationships/hyperlink" Target="https://towardsdatascience.com/first-helmet-detector-using-yolov5-2eceab034c4b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towardsdatascience.com/how-to-train-a-custom-object-detection-model-with-yolo-v5-917e9ce13208" TargetMode="External"/><Relationship Id="rId2" Type="http://schemas.openxmlformats.org/officeDocument/2006/relationships/hyperlink" Target="https://betterprogramming.pub/machine-learning-model-api-using-yolov5-with-fast-api-192f1290a982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B9122B-8291-328F-C671-98511F2DE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et &amp; Safety Vest Detection Solu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FC0E2DD-B740-9EEA-809C-D64A15935C8C}"/>
              </a:ext>
            </a:extLst>
          </p:cNvPr>
          <p:cNvSpPr/>
          <p:nvPr/>
        </p:nvSpPr>
        <p:spPr>
          <a:xfrm>
            <a:off x="561975" y="1569295"/>
            <a:ext cx="1209674" cy="5571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Customer Attendance DB – historic imag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4708BD-1426-A63D-0127-8C7ED4F0C0F8}"/>
              </a:ext>
            </a:extLst>
          </p:cNvPr>
          <p:cNvSpPr/>
          <p:nvPr/>
        </p:nvSpPr>
        <p:spPr>
          <a:xfrm>
            <a:off x="561974" y="2215354"/>
            <a:ext cx="1209673" cy="55711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Open-source labelled image dataset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62ED95-9D50-0958-D649-66FF0280D8C7}"/>
              </a:ext>
            </a:extLst>
          </p:cNvPr>
          <p:cNvSpPr/>
          <p:nvPr/>
        </p:nvSpPr>
        <p:spPr>
          <a:xfrm>
            <a:off x="2119313" y="1569296"/>
            <a:ext cx="855168" cy="55711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Labelling the image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34C69B-57EA-C339-1FE4-D4E9F4E0A199}"/>
              </a:ext>
            </a:extLst>
          </p:cNvPr>
          <p:cNvSpPr txBox="1"/>
          <p:nvPr/>
        </p:nvSpPr>
        <p:spPr>
          <a:xfrm>
            <a:off x="531625" y="1117497"/>
            <a:ext cx="12763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1. Image Collec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47EFFD1-D386-8C6B-0A89-54DCF63BFC8D}"/>
              </a:ext>
            </a:extLst>
          </p:cNvPr>
          <p:cNvCxnSpPr/>
          <p:nvPr/>
        </p:nvCxnSpPr>
        <p:spPr>
          <a:xfrm>
            <a:off x="1952625" y="1238250"/>
            <a:ext cx="0" cy="17373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0F1DA49E-2EC8-130F-E84A-80B787AE7679}"/>
              </a:ext>
            </a:extLst>
          </p:cNvPr>
          <p:cNvSpPr txBox="1"/>
          <p:nvPr/>
        </p:nvSpPr>
        <p:spPr>
          <a:xfrm>
            <a:off x="2017487" y="1135753"/>
            <a:ext cx="13227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2. Image Annot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C14115-8A37-F87A-3138-58DEA59953FF}"/>
              </a:ext>
            </a:extLst>
          </p:cNvPr>
          <p:cNvSpPr/>
          <p:nvPr/>
        </p:nvSpPr>
        <p:spPr>
          <a:xfrm>
            <a:off x="3656424" y="1569294"/>
            <a:ext cx="1468026" cy="120317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Resizing, Orienting, Color Correction</a:t>
            </a:r>
          </a:p>
          <a:p>
            <a:pPr algn="ctr"/>
            <a:r>
              <a:rPr lang="en-US" sz="1000" dirty="0"/>
              <a:t>Alter rotation, brightness, scale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24CC685-AFB1-0401-57CA-4A3498612418}"/>
              </a:ext>
            </a:extLst>
          </p:cNvPr>
          <p:cNvCxnSpPr/>
          <p:nvPr/>
        </p:nvCxnSpPr>
        <p:spPr>
          <a:xfrm>
            <a:off x="3489736" y="1238249"/>
            <a:ext cx="0" cy="17373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1B82010-4CAC-ACA9-E06E-90D1B5B55BDA}"/>
              </a:ext>
            </a:extLst>
          </p:cNvPr>
          <p:cNvSpPr txBox="1"/>
          <p:nvPr/>
        </p:nvSpPr>
        <p:spPr>
          <a:xfrm>
            <a:off x="3554598" y="1135753"/>
            <a:ext cx="15698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3. Image Pre-processing &amp; Augment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4FA3BEA-13C5-588B-F502-8D9E2336801E}"/>
              </a:ext>
            </a:extLst>
          </p:cNvPr>
          <p:cNvCxnSpPr/>
          <p:nvPr/>
        </p:nvCxnSpPr>
        <p:spPr>
          <a:xfrm>
            <a:off x="543342" y="2933700"/>
            <a:ext cx="97840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D9B0A1E8-3E18-471E-7D62-A34EC9A75753}"/>
              </a:ext>
            </a:extLst>
          </p:cNvPr>
          <p:cNvSpPr/>
          <p:nvPr/>
        </p:nvSpPr>
        <p:spPr>
          <a:xfrm>
            <a:off x="5455973" y="3277327"/>
            <a:ext cx="1195427" cy="806580"/>
          </a:xfrm>
          <a:prstGeom prst="rect">
            <a:avLst/>
          </a:prstGeom>
          <a:solidFill>
            <a:srgbClr val="008000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Model configuration and Architecture desig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0ED38D-8BF3-FA51-B08D-F5376F83DDC5}"/>
              </a:ext>
            </a:extLst>
          </p:cNvPr>
          <p:cNvSpPr txBox="1"/>
          <p:nvPr/>
        </p:nvSpPr>
        <p:spPr>
          <a:xfrm>
            <a:off x="5419726" y="2993924"/>
            <a:ext cx="131959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4. ML Model Desig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DB880A2-4CD3-6C52-990D-1E752B8609AA}"/>
              </a:ext>
            </a:extLst>
          </p:cNvPr>
          <p:cNvCxnSpPr/>
          <p:nvPr/>
        </p:nvCxnSpPr>
        <p:spPr>
          <a:xfrm>
            <a:off x="6831201" y="3019427"/>
            <a:ext cx="0" cy="12801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FF98EB8-DF55-927D-3817-3389B7C71B1A}"/>
              </a:ext>
            </a:extLst>
          </p:cNvPr>
          <p:cNvSpPr txBox="1"/>
          <p:nvPr/>
        </p:nvSpPr>
        <p:spPr>
          <a:xfrm>
            <a:off x="7032999" y="3020153"/>
            <a:ext cx="27414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5. Model training, evaluation and optimiza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64D2250-658D-1EAF-19E0-AB83355CDA66}"/>
              </a:ext>
            </a:extLst>
          </p:cNvPr>
          <p:cNvSpPr/>
          <p:nvPr/>
        </p:nvSpPr>
        <p:spPr>
          <a:xfrm>
            <a:off x="5806394" y="2251429"/>
            <a:ext cx="932923" cy="53907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Training data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312A776-B112-3675-AA45-544871271C5A}"/>
              </a:ext>
            </a:extLst>
          </p:cNvPr>
          <p:cNvSpPr/>
          <p:nvPr/>
        </p:nvSpPr>
        <p:spPr>
          <a:xfrm>
            <a:off x="5839352" y="1569294"/>
            <a:ext cx="932922" cy="55711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Testing data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D0B6B4-F7F1-FD1C-4595-C70687256F73}"/>
              </a:ext>
            </a:extLst>
          </p:cNvPr>
          <p:cNvSpPr/>
          <p:nvPr/>
        </p:nvSpPr>
        <p:spPr>
          <a:xfrm>
            <a:off x="7134825" y="3275899"/>
            <a:ext cx="1464660" cy="338001"/>
          </a:xfrm>
          <a:prstGeom prst="rect">
            <a:avLst/>
          </a:prstGeom>
          <a:solidFill>
            <a:srgbClr val="008000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Train the Mod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BB07C4F-4655-190A-B878-15ADE5A6FCEC}"/>
              </a:ext>
            </a:extLst>
          </p:cNvPr>
          <p:cNvSpPr/>
          <p:nvPr/>
        </p:nvSpPr>
        <p:spPr>
          <a:xfrm>
            <a:off x="8847104" y="3401348"/>
            <a:ext cx="1336896" cy="557112"/>
          </a:xfrm>
          <a:prstGeom prst="rect">
            <a:avLst/>
          </a:prstGeom>
          <a:solidFill>
            <a:srgbClr val="008000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Evaluate performance of the mode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54835B3-D635-A0D7-70D3-17B61164F66E}"/>
              </a:ext>
            </a:extLst>
          </p:cNvPr>
          <p:cNvSpPr/>
          <p:nvPr/>
        </p:nvSpPr>
        <p:spPr>
          <a:xfrm>
            <a:off x="7134825" y="3745906"/>
            <a:ext cx="1464660" cy="338001"/>
          </a:xfrm>
          <a:prstGeom prst="rect">
            <a:avLst/>
          </a:prstGeom>
          <a:solidFill>
            <a:srgbClr val="008000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Hyperparameter tuning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15F597-B10E-CD25-589E-EA5ACDE9B6DA}"/>
              </a:ext>
            </a:extLst>
          </p:cNvPr>
          <p:cNvCxnSpPr/>
          <p:nvPr/>
        </p:nvCxnSpPr>
        <p:spPr>
          <a:xfrm>
            <a:off x="543342" y="4371975"/>
            <a:ext cx="97840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11848417-FDF6-CB08-779F-087F1CEBBBC6}"/>
              </a:ext>
            </a:extLst>
          </p:cNvPr>
          <p:cNvSpPr/>
          <p:nvPr/>
        </p:nvSpPr>
        <p:spPr>
          <a:xfrm>
            <a:off x="5839352" y="4647498"/>
            <a:ext cx="1303940" cy="83277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OST API to detect helmet and safety vest and update store and send notific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898C8BF-9097-6900-FE3F-B128AEDE890D}"/>
              </a:ext>
            </a:extLst>
          </p:cNvPr>
          <p:cNvSpPr txBox="1"/>
          <p:nvPr/>
        </p:nvSpPr>
        <p:spPr>
          <a:xfrm>
            <a:off x="5419726" y="4375049"/>
            <a:ext cx="23439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6. Model API creation and deploymen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ED24872-3B51-C4C2-6AA9-97653CB52103}"/>
              </a:ext>
            </a:extLst>
          </p:cNvPr>
          <p:cNvSpPr/>
          <p:nvPr/>
        </p:nvSpPr>
        <p:spPr>
          <a:xfrm>
            <a:off x="7763637" y="4647499"/>
            <a:ext cx="3523488" cy="36276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OST API to detect helmet and safety vest and return JSON result</a:t>
            </a:r>
          </a:p>
        </p:txBody>
      </p:sp>
      <p:pic>
        <p:nvPicPr>
          <p:cNvPr id="34" name="Google Shape;129;p2" descr="A picture containing arrow&#10;&#10;Description automatically generated">
            <a:extLst>
              <a:ext uri="{FF2B5EF4-FFF2-40B4-BE49-F238E27FC236}">
                <a16:creationId xmlns:a16="http://schemas.microsoft.com/office/drawing/2014/main" id="{643ADC2A-9819-604A-CDAC-61AD53294E2C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13510" t="5048" r="11835" b="10646"/>
          <a:stretch/>
        </p:blipFill>
        <p:spPr>
          <a:xfrm>
            <a:off x="1397193" y="4942458"/>
            <a:ext cx="374454" cy="448083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130;p2">
            <a:extLst>
              <a:ext uri="{FF2B5EF4-FFF2-40B4-BE49-F238E27FC236}">
                <a16:creationId xmlns:a16="http://schemas.microsoft.com/office/drawing/2014/main" id="{6291B3A8-6B34-942D-CE86-2A4D64B3ECCC}"/>
              </a:ext>
            </a:extLst>
          </p:cNvPr>
          <p:cNvSpPr/>
          <p:nvPr/>
        </p:nvSpPr>
        <p:spPr>
          <a:xfrm>
            <a:off x="5441701" y="5922887"/>
            <a:ext cx="981349" cy="500135"/>
          </a:xfrm>
          <a:prstGeom prst="rect">
            <a:avLst/>
          </a:prstGeom>
          <a:solidFill>
            <a:srgbClr val="FF0000"/>
          </a:solidFill>
          <a:ln w="254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US" sz="900" b="1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Attendance Image Repository</a:t>
            </a:r>
            <a:endParaRPr sz="14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31;p2">
            <a:extLst>
              <a:ext uri="{FF2B5EF4-FFF2-40B4-BE49-F238E27FC236}">
                <a16:creationId xmlns:a16="http://schemas.microsoft.com/office/drawing/2014/main" id="{1F536EE2-5A0D-6A75-0546-F43F012A6C6B}"/>
              </a:ext>
            </a:extLst>
          </p:cNvPr>
          <p:cNvSpPr/>
          <p:nvPr/>
        </p:nvSpPr>
        <p:spPr>
          <a:xfrm>
            <a:off x="6494871" y="5909772"/>
            <a:ext cx="981349" cy="500135"/>
          </a:xfrm>
          <a:prstGeom prst="rect">
            <a:avLst/>
          </a:prstGeom>
          <a:solidFill>
            <a:srgbClr val="FF0000"/>
          </a:solidFill>
          <a:ln w="254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US" sz="900" b="1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Data Store</a:t>
            </a:r>
            <a:endParaRPr sz="1400" b="0" i="0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33;p2">
            <a:extLst>
              <a:ext uri="{FF2B5EF4-FFF2-40B4-BE49-F238E27FC236}">
                <a16:creationId xmlns:a16="http://schemas.microsoft.com/office/drawing/2014/main" id="{0E9BA4B8-7E4F-B133-CECB-99F54C948DD4}"/>
              </a:ext>
            </a:extLst>
          </p:cNvPr>
          <p:cNvSpPr/>
          <p:nvPr/>
        </p:nvSpPr>
        <p:spPr>
          <a:xfrm>
            <a:off x="7548041" y="5909771"/>
            <a:ext cx="981349" cy="500135"/>
          </a:xfrm>
          <a:prstGeom prst="rect">
            <a:avLst/>
          </a:prstGeom>
          <a:solidFill>
            <a:srgbClr val="FF0000"/>
          </a:solidFill>
          <a:ln w="254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1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Notification Services</a:t>
            </a:r>
            <a:endParaRPr sz="1400" b="0" i="0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43;p2">
            <a:extLst>
              <a:ext uri="{FF2B5EF4-FFF2-40B4-BE49-F238E27FC236}">
                <a16:creationId xmlns:a16="http://schemas.microsoft.com/office/drawing/2014/main" id="{B5EFCD2F-2111-F8DB-8A4E-7A0E886F6B58}"/>
              </a:ext>
            </a:extLst>
          </p:cNvPr>
          <p:cNvSpPr txBox="1"/>
          <p:nvPr/>
        </p:nvSpPr>
        <p:spPr>
          <a:xfrm>
            <a:off x="708122" y="5428873"/>
            <a:ext cx="212705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US" sz="9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ider photo during Attendanc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36;p2">
            <a:extLst>
              <a:ext uri="{FF2B5EF4-FFF2-40B4-BE49-F238E27FC236}">
                <a16:creationId xmlns:a16="http://schemas.microsoft.com/office/drawing/2014/main" id="{41524018-BF3E-BE7E-959A-538E9D0B2BD8}"/>
              </a:ext>
            </a:extLst>
          </p:cNvPr>
          <p:cNvSpPr/>
          <p:nvPr/>
        </p:nvSpPr>
        <p:spPr>
          <a:xfrm rot="-5400000">
            <a:off x="4317242" y="5395123"/>
            <a:ext cx="1775514" cy="280261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00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PI Gateway</a:t>
            </a:r>
            <a:endParaRPr sz="100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963B8654-3A51-8F38-54C6-BAAF076B53FB}"/>
              </a:ext>
            </a:extLst>
          </p:cNvPr>
          <p:cNvCxnSpPr>
            <a:cxnSpLocks/>
            <a:stCxn id="3" idx="3"/>
            <a:endCxn id="7" idx="1"/>
          </p:cNvCxnSpPr>
          <p:nvPr/>
        </p:nvCxnSpPr>
        <p:spPr>
          <a:xfrm>
            <a:off x="1771649" y="1847851"/>
            <a:ext cx="347664" cy="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2B46A6B3-F0B1-4755-E37B-4693634DF0C9}"/>
              </a:ext>
            </a:extLst>
          </p:cNvPr>
          <p:cNvCxnSpPr>
            <a:stCxn id="6" idx="3"/>
            <a:endCxn id="13" idx="1"/>
          </p:cNvCxnSpPr>
          <p:nvPr/>
        </p:nvCxnSpPr>
        <p:spPr>
          <a:xfrm flipV="1">
            <a:off x="1771647" y="2170880"/>
            <a:ext cx="1884777" cy="323030"/>
          </a:xfrm>
          <a:prstGeom prst="bentConnector3">
            <a:avLst>
              <a:gd name="adj1" fmla="val 7173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E6C807C3-B58C-8087-ED1D-29B314AB6E11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2974481" y="1847852"/>
            <a:ext cx="681943" cy="323028"/>
          </a:xfrm>
          <a:prstGeom prst="bentConnector3">
            <a:avLst>
              <a:gd name="adj1" fmla="val 2066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266C3BD6-C5CA-CA10-67E8-707ADF6C562B}"/>
              </a:ext>
            </a:extLst>
          </p:cNvPr>
          <p:cNvCxnSpPr>
            <a:cxnSpLocks/>
            <a:stCxn id="13" idx="3"/>
            <a:endCxn id="23" idx="1"/>
          </p:cNvCxnSpPr>
          <p:nvPr/>
        </p:nvCxnSpPr>
        <p:spPr>
          <a:xfrm flipV="1">
            <a:off x="5124450" y="1847850"/>
            <a:ext cx="714902" cy="323030"/>
          </a:xfrm>
          <a:prstGeom prst="bentConnector3">
            <a:avLst>
              <a:gd name="adj1" fmla="val 6732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5E2077B5-912C-C6C5-D683-3906DE8F815D}"/>
              </a:ext>
            </a:extLst>
          </p:cNvPr>
          <p:cNvCxnSpPr>
            <a:cxnSpLocks/>
            <a:stCxn id="13" idx="3"/>
            <a:endCxn id="22" idx="1"/>
          </p:cNvCxnSpPr>
          <p:nvPr/>
        </p:nvCxnSpPr>
        <p:spPr>
          <a:xfrm>
            <a:off x="5124450" y="2170880"/>
            <a:ext cx="681944" cy="350086"/>
          </a:xfrm>
          <a:prstGeom prst="bentConnector3">
            <a:avLst>
              <a:gd name="adj1" fmla="val 7234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0399EE7B-0F2C-41EC-FC67-A3F0FF520D7E}"/>
              </a:ext>
            </a:extLst>
          </p:cNvPr>
          <p:cNvCxnSpPr>
            <a:cxnSpLocks/>
            <a:stCxn id="22" idx="3"/>
            <a:endCxn id="24" idx="1"/>
          </p:cNvCxnSpPr>
          <p:nvPr/>
        </p:nvCxnSpPr>
        <p:spPr>
          <a:xfrm>
            <a:off x="6739317" y="2520966"/>
            <a:ext cx="395508" cy="92393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7554813-3AA9-5694-7483-8814C9A27FB2}"/>
              </a:ext>
            </a:extLst>
          </p:cNvPr>
          <p:cNvCxnSpPr>
            <a:stCxn id="18" idx="3"/>
            <a:endCxn id="24" idx="1"/>
          </p:cNvCxnSpPr>
          <p:nvPr/>
        </p:nvCxnSpPr>
        <p:spPr>
          <a:xfrm flipV="1">
            <a:off x="6651400" y="3444900"/>
            <a:ext cx="483425" cy="23571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7C065B82-755D-2D36-F2BF-0F697AB6187E}"/>
              </a:ext>
            </a:extLst>
          </p:cNvPr>
          <p:cNvCxnSpPr>
            <a:stCxn id="24" idx="3"/>
            <a:endCxn id="25" idx="1"/>
          </p:cNvCxnSpPr>
          <p:nvPr/>
        </p:nvCxnSpPr>
        <p:spPr>
          <a:xfrm>
            <a:off x="8599485" y="3444900"/>
            <a:ext cx="247619" cy="23500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6358519A-C677-DACD-E1AF-BDDE310B57F6}"/>
              </a:ext>
            </a:extLst>
          </p:cNvPr>
          <p:cNvCxnSpPr>
            <a:cxnSpLocks/>
            <a:stCxn id="25" idx="2"/>
            <a:endCxn id="26" idx="1"/>
          </p:cNvCxnSpPr>
          <p:nvPr/>
        </p:nvCxnSpPr>
        <p:spPr>
          <a:xfrm rot="5400000" flipH="1">
            <a:off x="8303412" y="2746321"/>
            <a:ext cx="43553" cy="2380727"/>
          </a:xfrm>
          <a:prstGeom prst="bentConnector4">
            <a:avLst>
              <a:gd name="adj1" fmla="val -812911"/>
              <a:gd name="adj2" fmla="val 10960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26F9AB77-5BEB-68CA-CF92-CE216283E6B3}"/>
              </a:ext>
            </a:extLst>
          </p:cNvPr>
          <p:cNvCxnSpPr>
            <a:cxnSpLocks/>
            <a:stCxn id="26" idx="2"/>
            <a:endCxn id="18" idx="1"/>
          </p:cNvCxnSpPr>
          <p:nvPr/>
        </p:nvCxnSpPr>
        <p:spPr>
          <a:xfrm rot="5400000" flipH="1">
            <a:off x="6459919" y="2676671"/>
            <a:ext cx="403290" cy="2411182"/>
          </a:xfrm>
          <a:prstGeom prst="bentConnector4">
            <a:avLst>
              <a:gd name="adj1" fmla="val -40151"/>
              <a:gd name="adj2" fmla="val 10948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C9F7AC92-852E-3CE1-3FC9-81BFF82491E4}"/>
              </a:ext>
            </a:extLst>
          </p:cNvPr>
          <p:cNvCxnSpPr>
            <a:cxnSpLocks/>
            <a:stCxn id="34" idx="3"/>
            <a:endCxn id="39" idx="0"/>
          </p:cNvCxnSpPr>
          <p:nvPr/>
        </p:nvCxnSpPr>
        <p:spPr>
          <a:xfrm>
            <a:off x="1771647" y="5166500"/>
            <a:ext cx="3293222" cy="36875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0B97B6C7-3CBA-F6AB-D6DD-D53079F832D5}"/>
              </a:ext>
            </a:extLst>
          </p:cNvPr>
          <p:cNvCxnSpPr>
            <a:cxnSpLocks/>
            <a:stCxn id="39" idx="2"/>
            <a:endCxn id="29" idx="1"/>
          </p:cNvCxnSpPr>
          <p:nvPr/>
        </p:nvCxnSpPr>
        <p:spPr>
          <a:xfrm flipV="1">
            <a:off x="5345130" y="5063885"/>
            <a:ext cx="494222" cy="471369"/>
          </a:xfrm>
          <a:prstGeom prst="bentConnector5">
            <a:avLst>
              <a:gd name="adj1" fmla="val 46255"/>
              <a:gd name="adj2" fmla="val 101445"/>
              <a:gd name="adj3" fmla="val 5374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54999674-22A5-4970-940E-28AF72579696}"/>
              </a:ext>
            </a:extLst>
          </p:cNvPr>
          <p:cNvSpPr/>
          <p:nvPr/>
        </p:nvSpPr>
        <p:spPr>
          <a:xfrm>
            <a:off x="7763637" y="5118178"/>
            <a:ext cx="3523488" cy="35198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POST API to detect helmet and safety vest and return BASE64 image</a:t>
            </a:r>
          </a:p>
        </p:txBody>
      </p:sp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9449E7F9-B21F-70F4-4628-BEBB1D5CB939}"/>
              </a:ext>
            </a:extLst>
          </p:cNvPr>
          <p:cNvCxnSpPr>
            <a:stCxn id="29" idx="3"/>
            <a:endCxn id="31" idx="1"/>
          </p:cNvCxnSpPr>
          <p:nvPr/>
        </p:nvCxnSpPr>
        <p:spPr>
          <a:xfrm flipV="1">
            <a:off x="7143292" y="4828882"/>
            <a:ext cx="620345" cy="23500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33D5088B-3E0A-2914-57A5-4F918933F892}"/>
              </a:ext>
            </a:extLst>
          </p:cNvPr>
          <p:cNvCxnSpPr>
            <a:stCxn id="29" idx="3"/>
            <a:endCxn id="85" idx="1"/>
          </p:cNvCxnSpPr>
          <p:nvPr/>
        </p:nvCxnSpPr>
        <p:spPr>
          <a:xfrm>
            <a:off x="7143292" y="5063885"/>
            <a:ext cx="620345" cy="23028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0A49DDE3-A37D-561E-D5C8-96349E87FE05}"/>
              </a:ext>
            </a:extLst>
          </p:cNvPr>
          <p:cNvCxnSpPr>
            <a:stCxn id="29" idx="2"/>
            <a:endCxn id="35" idx="0"/>
          </p:cNvCxnSpPr>
          <p:nvPr/>
        </p:nvCxnSpPr>
        <p:spPr>
          <a:xfrm rot="5400000">
            <a:off x="5990542" y="5422106"/>
            <a:ext cx="442615" cy="55894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834E85C9-6B6A-618E-F8F6-844EE36AAA84}"/>
              </a:ext>
            </a:extLst>
          </p:cNvPr>
          <p:cNvCxnSpPr>
            <a:stCxn id="29" idx="2"/>
            <a:endCxn id="36" idx="0"/>
          </p:cNvCxnSpPr>
          <p:nvPr/>
        </p:nvCxnSpPr>
        <p:spPr>
          <a:xfrm rot="16200000" flipH="1">
            <a:off x="6523684" y="5447910"/>
            <a:ext cx="429500" cy="49422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6BA0EC07-41AE-C8C7-2420-91163B5EC079}"/>
              </a:ext>
            </a:extLst>
          </p:cNvPr>
          <p:cNvCxnSpPr>
            <a:stCxn id="29" idx="2"/>
            <a:endCxn id="37" idx="0"/>
          </p:cNvCxnSpPr>
          <p:nvPr/>
        </p:nvCxnSpPr>
        <p:spPr>
          <a:xfrm rot="16200000" flipH="1">
            <a:off x="7050270" y="4921324"/>
            <a:ext cx="429499" cy="154739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856476F0-9038-FBE0-0558-C7DF1C277CC0}"/>
              </a:ext>
            </a:extLst>
          </p:cNvPr>
          <p:cNvSpPr txBox="1"/>
          <p:nvPr/>
        </p:nvSpPr>
        <p:spPr>
          <a:xfrm>
            <a:off x="1454721" y="4622146"/>
            <a:ext cx="22461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7. Validate safety wear for employee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59A9D46C-2873-6B45-0418-DDB35B0EBECC}"/>
              </a:ext>
            </a:extLst>
          </p:cNvPr>
          <p:cNvSpPr txBox="1"/>
          <p:nvPr/>
        </p:nvSpPr>
        <p:spPr>
          <a:xfrm>
            <a:off x="5188932" y="1951847"/>
            <a:ext cx="4090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Split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498298BA-1999-FAD6-4CC8-066F6A0814E9}"/>
              </a:ext>
            </a:extLst>
          </p:cNvPr>
          <p:cNvSpPr txBox="1"/>
          <p:nvPr/>
        </p:nvSpPr>
        <p:spPr>
          <a:xfrm>
            <a:off x="3040206" y="1903474"/>
            <a:ext cx="6463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Combine</a:t>
            </a:r>
          </a:p>
        </p:txBody>
      </p:sp>
      <p:cxnSp>
        <p:nvCxnSpPr>
          <p:cNvPr id="121" name="Connector: Elbow 120">
            <a:extLst>
              <a:ext uri="{FF2B5EF4-FFF2-40B4-BE49-F238E27FC236}">
                <a16:creationId xmlns:a16="http://schemas.microsoft.com/office/drawing/2014/main" id="{AE705A16-3340-AF87-E19F-7CAB19C8BD11}"/>
              </a:ext>
            </a:extLst>
          </p:cNvPr>
          <p:cNvCxnSpPr>
            <a:stCxn id="23" idx="3"/>
            <a:endCxn id="25" idx="1"/>
          </p:cNvCxnSpPr>
          <p:nvPr/>
        </p:nvCxnSpPr>
        <p:spPr>
          <a:xfrm>
            <a:off x="6772274" y="1847850"/>
            <a:ext cx="2074830" cy="1832054"/>
          </a:xfrm>
          <a:prstGeom prst="bentConnector3">
            <a:avLst>
              <a:gd name="adj1" fmla="val 9544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id="{E24E182E-16D0-A756-14BC-A5835E008107}"/>
              </a:ext>
            </a:extLst>
          </p:cNvPr>
          <p:cNvSpPr txBox="1"/>
          <p:nvPr/>
        </p:nvSpPr>
        <p:spPr>
          <a:xfrm>
            <a:off x="6963238" y="2627179"/>
            <a:ext cx="8579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Training data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141E5C6C-C95A-7CDC-C657-76700CDB2BB1}"/>
              </a:ext>
            </a:extLst>
          </p:cNvPr>
          <p:cNvSpPr txBox="1"/>
          <p:nvPr/>
        </p:nvSpPr>
        <p:spPr>
          <a:xfrm>
            <a:off x="8729335" y="2627179"/>
            <a:ext cx="8194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Testing data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4EF96643-4FC0-00A1-CE11-04B01DAB116E}"/>
              </a:ext>
            </a:extLst>
          </p:cNvPr>
          <p:cNvSpPr txBox="1"/>
          <p:nvPr/>
        </p:nvSpPr>
        <p:spPr>
          <a:xfrm>
            <a:off x="4326699" y="3815756"/>
            <a:ext cx="883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Tune the configuration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1C731B79-0975-FD80-B92B-EC7952826D82}"/>
              </a:ext>
            </a:extLst>
          </p:cNvPr>
          <p:cNvSpPr txBox="1"/>
          <p:nvPr/>
        </p:nvSpPr>
        <p:spPr>
          <a:xfrm>
            <a:off x="8226199" y="4113355"/>
            <a:ext cx="124906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erformance metrics</a:t>
            </a:r>
          </a:p>
        </p:txBody>
      </p:sp>
      <p:sp>
        <p:nvSpPr>
          <p:cNvPr id="128" name="Google Shape;130;p2">
            <a:extLst>
              <a:ext uri="{FF2B5EF4-FFF2-40B4-BE49-F238E27FC236}">
                <a16:creationId xmlns:a16="http://schemas.microsoft.com/office/drawing/2014/main" id="{1A9C2512-D1B7-40F9-FFED-B89CBFC7C514}"/>
              </a:ext>
            </a:extLst>
          </p:cNvPr>
          <p:cNvSpPr/>
          <p:nvPr/>
        </p:nvSpPr>
        <p:spPr>
          <a:xfrm>
            <a:off x="336301" y="6237159"/>
            <a:ext cx="981349" cy="246221"/>
          </a:xfrm>
          <a:prstGeom prst="rect">
            <a:avLst/>
          </a:prstGeom>
          <a:solidFill>
            <a:srgbClr val="FF0000"/>
          </a:solidFill>
          <a:ln w="254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4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0FCEB0F2-5B77-ECF9-9B39-C945AF539F51}"/>
              </a:ext>
            </a:extLst>
          </p:cNvPr>
          <p:cNvSpPr txBox="1"/>
          <p:nvPr/>
        </p:nvSpPr>
        <p:spPr>
          <a:xfrm>
            <a:off x="1389471" y="6237159"/>
            <a:ext cx="30764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Customer Systems – not in our development scope</a:t>
            </a:r>
          </a:p>
        </p:txBody>
      </p:sp>
    </p:spTree>
    <p:extLst>
      <p:ext uri="{BB962C8B-B14F-4D97-AF65-F5344CB8AC3E}">
        <p14:creationId xmlns:p14="http://schemas.microsoft.com/office/powerpoint/2010/main" val="396422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g1cf28d1ed19_0_10"/>
          <p:cNvSpPr txBox="1">
            <a:spLocks noGrp="1"/>
          </p:cNvSpPr>
          <p:nvPr>
            <p:ph type="title"/>
          </p:nvPr>
        </p:nvSpPr>
        <p:spPr>
          <a:xfrm>
            <a:off x="543342" y="276145"/>
            <a:ext cx="10515600" cy="7056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en-US" sz="1800">
                <a:solidFill>
                  <a:srgbClr val="0C0C0C"/>
                </a:solidFill>
              </a:rPr>
              <a:t>1. Two wheeler rider safety</a:t>
            </a:r>
            <a:br>
              <a:rPr lang="en-US" sz="1800">
                <a:solidFill>
                  <a:srgbClr val="0C0C0C"/>
                </a:solidFill>
              </a:rPr>
            </a:br>
            <a:r>
              <a:rPr lang="en-US" sz="1800">
                <a:solidFill>
                  <a:srgbClr val="0C0C0C"/>
                </a:solidFill>
              </a:rPr>
              <a:t>1.a, 1.b – Use of Helmet, Safety jacket/illuminated Strip while driving</a:t>
            </a:r>
            <a:br>
              <a:rPr lang="en-US" sz="2000">
                <a:solidFill>
                  <a:srgbClr val="0C0C0C"/>
                </a:solidFill>
              </a:rPr>
            </a:br>
            <a:r>
              <a:rPr lang="en-US" sz="2000">
                <a:solidFill>
                  <a:srgbClr val="2E75B5"/>
                </a:solidFill>
              </a:rPr>
              <a:t>Solution Option 1 – DL Based Image Processing Technique</a:t>
            </a:r>
            <a:endParaRPr sz="2000"/>
          </a:p>
        </p:txBody>
      </p:sp>
      <p:sp>
        <p:nvSpPr>
          <p:cNvPr id="226" name="Google Shape;226;g1cf28d1ed19_0_10"/>
          <p:cNvSpPr txBox="1"/>
          <p:nvPr/>
        </p:nvSpPr>
        <p:spPr>
          <a:xfrm>
            <a:off x="467175" y="1154200"/>
            <a:ext cx="107634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Requirement </a:t>
            </a:r>
            <a:r>
              <a:rPr lang="en-US"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s to check for Use of helmet while driving and </a:t>
            </a:r>
            <a:r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se of Safety jacket/illuminated strip on helmet while driving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g1cf28d1ed19_0_10"/>
          <p:cNvSpPr txBox="1"/>
          <p:nvPr/>
        </p:nvSpPr>
        <p:spPr>
          <a:xfrm>
            <a:off x="467175" y="1509250"/>
            <a:ext cx="10875600" cy="21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olution Option 1  - DL based image processing technique</a:t>
            </a:r>
            <a:endParaRPr sz="1400" b="1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Char char="●"/>
            </a:pPr>
            <a:r>
              <a:rPr lang="en-US"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 data set of images with and without helmet is required  to train the model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Char char="●"/>
            </a:pPr>
            <a:r>
              <a:rPr lang="en-US"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pen-source datasets are available - can they be used? Open Images DataSet 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Char char="●"/>
            </a:pPr>
            <a:r>
              <a:rPr lang="en-US"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mages to be augmented - flip (horizontal), rotation (between -15degrees  and +15degrees) and brightness (between -25% and +25%)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Char char="●"/>
            </a:pPr>
            <a:r>
              <a:rPr lang="en-US"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YOLOv5 based solution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sng" strike="noStrike" cap="none">
                <a:solidFill>
                  <a:schemeClr val="hlink"/>
                </a:solidFill>
                <a:latin typeface="Calibri"/>
                <a:ea typeface="Calibri"/>
                <a:cs typeface="Calibri"/>
                <a:sym typeface="Calibri"/>
                <a:hlinkClick r:id="rId3"/>
              </a:rPr>
              <a:t>https://towardsdatascience.com/the-practical-guide-for-object-detection-with-yolov5-algorithm-74c04aac4843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sng" strike="noStrike" cap="none">
                <a:solidFill>
                  <a:schemeClr val="hlink"/>
                </a:solidFill>
                <a:latin typeface="Calibri"/>
                <a:ea typeface="Calibri"/>
                <a:cs typeface="Calibri"/>
                <a:sym typeface="Calibri"/>
                <a:hlinkClick r:id="rId4"/>
              </a:rPr>
              <a:t>https://towardsdatascience.com/first-helmet-detector-using-yolov5-2eceab034c4b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8" name="Google Shape;228;g1cf28d1ed19_0_1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167725" y="3217300"/>
            <a:ext cx="4569226" cy="34081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8699D3-702C-C86A-8C1C-F1C5B25E7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 Link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1AD8F63-5B4A-BEEA-BC16-EF20BE0C97F6}"/>
              </a:ext>
            </a:extLst>
          </p:cNvPr>
          <p:cNvSpPr txBox="1"/>
          <p:nvPr/>
        </p:nvSpPr>
        <p:spPr>
          <a:xfrm>
            <a:off x="543342" y="1181427"/>
            <a:ext cx="111914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betterprogramming.pub/machine-learning-model-api-using-yolov5-with-fast-api-192f1290a982</a:t>
            </a:r>
            <a:r>
              <a:rPr lang="en-US" dirty="0"/>
              <a:t> - API and deployment of the model</a:t>
            </a:r>
          </a:p>
          <a:p>
            <a:endParaRPr lang="en-US" dirty="0"/>
          </a:p>
          <a:p>
            <a:r>
              <a:rPr lang="en-US" dirty="0">
                <a:hlinkClick r:id="rId3"/>
              </a:rPr>
              <a:t>https://towardsdatascience.com/how-to-train-a-custom-object-detection-model-with-yolo-v5-917e9ce13208</a:t>
            </a:r>
            <a:r>
              <a:rPr lang="en-US" dirty="0"/>
              <a:t> - Labelling images and creating custom data set and YOLOv5 Algo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229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wltGbZKEY1YaG5awIqeg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1</TotalTime>
  <Words>336</Words>
  <Application>Microsoft Office PowerPoint</Application>
  <PresentationFormat>Widescreen</PresentationFormat>
  <Paragraphs>49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Office Theme</vt:lpstr>
      <vt:lpstr>think-cell Slide</vt:lpstr>
      <vt:lpstr>Helmet &amp; Safety Vest Detection Solution</vt:lpstr>
      <vt:lpstr>1. Two wheeler rider safety 1.a, 1.b – Use of Helmet, Safety jacket/illuminated Strip while driving Solution Option 1 – DL Based Image Processing Technique</vt:lpstr>
      <vt:lpstr>Reference Lin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t Jaurwal</dc:creator>
  <cp:lastModifiedBy>Sangeetha Ramakrishnan</cp:lastModifiedBy>
  <cp:revision>46</cp:revision>
  <dcterms:created xsi:type="dcterms:W3CDTF">2022-05-04T12:05:40Z</dcterms:created>
  <dcterms:modified xsi:type="dcterms:W3CDTF">2023-02-03T08:22:39Z</dcterms:modified>
</cp:coreProperties>
</file>